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256" r:id="rId2"/>
    <p:sldId id="1092" r:id="rId3"/>
    <p:sldId id="1093" r:id="rId4"/>
    <p:sldId id="267" r:id="rId5"/>
    <p:sldId id="1096" r:id="rId6"/>
    <p:sldId id="270" r:id="rId7"/>
    <p:sldId id="1084" r:id="rId8"/>
    <p:sldId id="1085" r:id="rId9"/>
    <p:sldId id="1091" r:id="rId10"/>
    <p:sldId id="1097" r:id="rId11"/>
    <p:sldId id="1099" r:id="rId12"/>
    <p:sldId id="265" r:id="rId13"/>
    <p:sldId id="1081" r:id="rId14"/>
  </p:sldIdLst>
  <p:sldSz cx="12192000" cy="6858000"/>
  <p:notesSz cx="6858000" cy="9144000"/>
  <p:custDataLst>
    <p:tags r:id="rId17"/>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Kristiansan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0"/>
              <c:layout>
                <c:manualLayout>
                  <c:x val="5.7462514544472917E-2"/>
                  <c:y val="0"/>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DF-421E-B3AA-BAD2F19BC291}"/>
                </c:ext>
              </c:extLst>
            </c:dLbl>
            <c:dLbl>
              <c:idx val="1"/>
              <c:layout>
                <c:manualLayout>
                  <c:x val="6.678076014627933E-2"/>
                  <c:y val="7.4612835757760884E-2"/>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ADF-421E-B3AA-BAD2F19BC291}"/>
                </c:ext>
              </c:extLst>
            </c:dLbl>
            <c:dLbl>
              <c:idx val="4"/>
              <c:layout>
                <c:manualLayout>
                  <c:x val="6.8333801079913742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dLbl>
              <c:idx val="6"/>
              <c:layout>
                <c:manualLayout>
                  <c:x val="-4.037906427449453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39859.486842749633</c:v>
                </c:pt>
                <c:pt idx="1">
                  <c:v>17521.143224256295</c:v>
                </c:pt>
                <c:pt idx="2">
                  <c:v>62607.965367235156</c:v>
                </c:pt>
                <c:pt idx="3">
                  <c:v>72611.204008479996</c:v>
                </c:pt>
                <c:pt idx="4">
                  <c:v>12682.947555475967</c:v>
                </c:pt>
                <c:pt idx="5">
                  <c:v>0</c:v>
                </c:pt>
                <c:pt idx="6">
                  <c:v>9023.467607433151</c:v>
                </c:pt>
                <c:pt idx="7">
                  <c:v>73707.629681901177</c:v>
                </c:pt>
                <c:pt idx="8">
                  <c:v>126705.60135415256</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Kristiansand</c:v>
                </c:pt>
              </c:strCache>
            </c:strRef>
          </c:tx>
          <c:spPr>
            <a:ln w="12700">
              <a:solidFill>
                <a:schemeClr val="bg1"/>
              </a:solidFill>
            </a:ln>
          </c:spPr>
          <c:dLbls>
            <c:dLbl>
              <c:idx val="1"/>
              <c:layout>
                <c:manualLayout>
                  <c:x val="-3.1055900621117872E-3"/>
                  <c:y val="-2.7625511180718698E-3"/>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069A-427B-B896-6DE3B9ADFFFE}"/>
                </c:ext>
              </c:extLst>
            </c:dLbl>
            <c:dLbl>
              <c:idx val="4"/>
              <c:layout>
                <c:manualLayout>
                  <c:x val="-0.12677954643938866"/>
                  <c:y val="2.9607399942565459E-2"/>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1"/>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240272.71787880338</c:v>
                </c:pt>
                <c:pt idx="1">
                  <c:v>17521.143224256295</c:v>
                </c:pt>
                <c:pt idx="2">
                  <c:v>62607.965367235156</c:v>
                </c:pt>
                <c:pt idx="3">
                  <c:v>72611.204008479996</c:v>
                </c:pt>
                <c:pt idx="4">
                  <c:v>12682.947555475967</c:v>
                </c:pt>
                <c:pt idx="5">
                  <c:v>9023.467607433151</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1"/>
              <c:layout>
                <c:manualLayout>
                  <c:x val="-0.11947007702386084"/>
                  <c:y val="-8.05036127878662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1446278416552043"/>
                      <c:h val="6.9800820336300196E-2"/>
                    </c:manualLayout>
                  </c15:layout>
                </c:ext>
                <c:ext xmlns:c16="http://schemas.microsoft.com/office/drawing/2014/chart" uri="{C3380CC4-5D6E-409C-BE32-E72D297353CC}">
                  <c16:uniqueId val="{00000005-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28687547395145213</c:v>
                </c:pt>
                <c:pt idx="1">
                  <c:v>0.11187318458387628</c:v>
                </c:pt>
                <c:pt idx="2">
                  <c:v>0.60125134146467163</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numFmt formatCode="0.0\ %"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8.1965467395390096E-2</c:v>
                </c:pt>
                <c:pt idx="1">
                  <c:v>0</c:v>
                </c:pt>
                <c:pt idx="2" formatCode="###0.000\ %_ ;_*\-###0.000\ %_ ;_*&quot;-&quot;">
                  <c:v>2.2350658994390291E-2</c:v>
                </c:pt>
                <c:pt idx="3">
                  <c:v>0.81605421648677356</c:v>
                </c:pt>
                <c:pt idx="4">
                  <c:v>0.79822440994867305</c:v>
                </c:pt>
                <c:pt idx="5">
                  <c:v>0.60125134146467163</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1612546641576545</c:v>
                </c:pt>
                <c:pt idx="1">
                  <c:v>0</c:v>
                </c:pt>
                <c:pt idx="2">
                  <c:v>0</c:v>
                </c:pt>
                <c:pt idx="3">
                  <c:v>5.6055927859878105E-2</c:v>
                </c:pt>
                <c:pt idx="4">
                  <c:v>0.18583913541747291</c:v>
                </c:pt>
                <c:pt idx="5">
                  <c:v>0.1118731845838763</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019090661888445</c:v>
                </c:pt>
                <c:pt idx="1">
                  <c:v>1</c:v>
                </c:pt>
                <c:pt idx="2">
                  <c:v>0.97764934100560974</c:v>
                </c:pt>
                <c:pt idx="3">
                  <c:v>0.1278898556533484</c:v>
                </c:pt>
                <c:pt idx="4">
                  <c:v>1.5936454633854055E-2</c:v>
                </c:pt>
                <c:pt idx="5">
                  <c:v>0.28687547395145219</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jøfart!$L$14:$L$28</c:f>
              <c:strCache>
                <c:ptCount val="15"/>
                <c:pt idx="0">
                  <c:v>Passasjer</c:v>
                </c:pt>
                <c:pt idx="1">
                  <c:v>Offshore supply skip</c:v>
                </c:pt>
                <c:pt idx="2">
                  <c:v>Cruiseskip</c:v>
                </c:pt>
                <c:pt idx="3">
                  <c:v>Stykkgodsskip</c:v>
                </c:pt>
                <c:pt idx="4">
                  <c:v>Andre aktiviteter sjøfart</c:v>
                </c:pt>
                <c:pt idx="5">
                  <c:v>Konteinerskip</c:v>
                </c:pt>
                <c:pt idx="6">
                  <c:v>Kjemikalietankere</c:v>
                </c:pt>
                <c:pt idx="7">
                  <c:v>Fiskefartøy</c:v>
                </c:pt>
                <c:pt idx="8">
                  <c:v>Bulkskip</c:v>
                </c:pt>
                <c:pt idx="9">
                  <c:v>Oljeprodukttankere</c:v>
                </c:pt>
                <c:pt idx="10">
                  <c:v>Kjøle-/ fryseskip</c:v>
                </c:pt>
                <c:pt idx="11">
                  <c:v>Ro Ro last</c:v>
                </c:pt>
                <c:pt idx="12">
                  <c:v>Gasstankere</c:v>
                </c:pt>
                <c:pt idx="13">
                  <c:v>Råoljetankere</c:v>
                </c:pt>
                <c:pt idx="14">
                  <c:v>Andre offshore service skip</c:v>
                </c:pt>
              </c:strCache>
            </c:strRef>
          </c:cat>
          <c:val>
            <c:numRef>
              <c:f>Sjøfart!$M$14:$M$28</c:f>
              <c:numCache>
                <c:formatCode>_(* #,##0_);_(* \(#,##0\);_(* "-"_);_(@_)</c:formatCode>
                <c:ptCount val="15"/>
                <c:pt idx="0">
                  <c:v>34859.395397709894</c:v>
                </c:pt>
                <c:pt idx="1">
                  <c:v>6049.9420783042997</c:v>
                </c:pt>
                <c:pt idx="2">
                  <c:v>5832.2326197407001</c:v>
                </c:pt>
                <c:pt idx="3">
                  <c:v>5646.9846900409002</c:v>
                </c:pt>
                <c:pt idx="4">
                  <c:v>3886.9359851181998</c:v>
                </c:pt>
                <c:pt idx="5">
                  <c:v>3164.5968062960001</c:v>
                </c:pt>
                <c:pt idx="6">
                  <c:v>2348.1745628302001</c:v>
                </c:pt>
                <c:pt idx="7">
                  <c:v>1391.4741394964999</c:v>
                </c:pt>
                <c:pt idx="8">
                  <c:v>1166.4638896073</c:v>
                </c:pt>
                <c:pt idx="9">
                  <c:v>513.10666798609998</c:v>
                </c:pt>
                <c:pt idx="10">
                  <c:v>358.57231219850001</c:v>
                </c:pt>
                <c:pt idx="11">
                  <c:v>242.9659456803</c:v>
                </c:pt>
                <c:pt idx="12">
                  <c:v>79.650832504899995</c:v>
                </c:pt>
                <c:pt idx="13">
                  <c:v>33.257319666899996</c:v>
                </c:pt>
                <c:pt idx="14">
                  <c:v>0</c:v>
                </c:pt>
              </c:numCache>
            </c:numRef>
          </c:val>
          <c:extLst>
            <c:ext xmlns:c16="http://schemas.microsoft.com/office/drawing/2014/chart" uri="{C3380CC4-5D6E-409C-BE32-E72D297353CC}">
              <c16:uniqueId val="{00000000-D53F-4036-BD81-E2C2D3A547DE}"/>
            </c:ext>
          </c:extLst>
        </c:ser>
        <c:dLbls>
          <c:showLegendKey val="0"/>
          <c:showVal val="0"/>
          <c:showCatName val="0"/>
          <c:showSerName val="0"/>
          <c:showPercent val="0"/>
          <c:showBubbleSize val="0"/>
        </c:dLbls>
        <c:gapWidth val="219"/>
        <c:overlap val="-27"/>
        <c:axId val="217187392"/>
        <c:axId val="217187720"/>
      </c:barChart>
      <c:catAx>
        <c:axId val="21718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720"/>
        <c:crosses val="autoZero"/>
        <c:auto val="1"/>
        <c:lblAlgn val="ctr"/>
        <c:lblOffset val="100"/>
        <c:noMultiLvlLbl val="0"/>
      </c:catAx>
      <c:valAx>
        <c:axId val="217187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n CO</a:t>
                </a:r>
                <a:r>
                  <a:rPr lang="nb-NO" sz="1400" baseline="-25000" dirty="0"/>
                  <a:t>2</a:t>
                </a:r>
                <a:r>
                  <a:rPr lang="nb-NO" sz="1400" dirty="0"/>
                  <a:t>-ekvivalenter</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1"/>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I$104</c:f>
              <c:strCache>
                <c:ptCount val="1"/>
                <c:pt idx="0">
                  <c:v>Kvotepliktig</c:v>
                </c:pt>
              </c:strCache>
            </c:strRef>
          </c:tx>
          <c:spPr>
            <a:solidFill>
              <a:schemeClr val="accent3"/>
            </a:solidFill>
            <a:ln>
              <a:noFill/>
            </a:ln>
            <a:effectLst/>
          </c:spPr>
          <c:invertIfNegative val="0"/>
          <c:cat>
            <c:strRef>
              <c:f>'Grafer til notat'!$G$105:$G$109</c:f>
              <c:strCache>
                <c:ptCount val="5"/>
                <c:pt idx="0">
                  <c:v>REC Solar Norway avd. Kristiansand</c:v>
                </c:pt>
                <c:pt idx="1">
                  <c:v>Glencore Nikkelverk</c:v>
                </c:pt>
                <c:pt idx="2">
                  <c:v>Elkem Carbon</c:v>
                </c:pt>
                <c:pt idx="3">
                  <c:v>TINE Meieriet Sør - Kristiansand</c:v>
                </c:pt>
                <c:pt idx="4">
                  <c:v>Hennig-Olsen Is AS</c:v>
                </c:pt>
              </c:strCache>
            </c:strRef>
          </c:cat>
          <c:val>
            <c:numRef>
              <c:f>'Grafer til notat'!$I$105:$I$10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0-4717-470C-8047-DD5234F7B502}"/>
            </c:ext>
          </c:extLst>
        </c:ser>
        <c:ser>
          <c:idx val="1"/>
          <c:order val="1"/>
          <c:tx>
            <c:strRef>
              <c:f>'Grafer til notat'!$J$104</c:f>
              <c:strCache>
                <c:ptCount val="1"/>
                <c:pt idx="0">
                  <c:v>Ikke-kvotepliktig</c:v>
                </c:pt>
              </c:strCache>
            </c:strRef>
          </c:tx>
          <c:spPr>
            <a:solidFill>
              <a:schemeClr val="accent5"/>
            </a:solidFill>
            <a:ln>
              <a:noFill/>
            </a:ln>
            <a:effectLst/>
          </c:spPr>
          <c:invertIfNegative val="0"/>
          <c:cat>
            <c:strRef>
              <c:f>'Grafer til notat'!$G$105:$G$109</c:f>
              <c:strCache>
                <c:ptCount val="5"/>
                <c:pt idx="0">
                  <c:v>REC Solar Norway avd. Kristiansand</c:v>
                </c:pt>
                <c:pt idx="1">
                  <c:v>Glencore Nikkelverk</c:v>
                </c:pt>
                <c:pt idx="2">
                  <c:v>Elkem Carbon</c:v>
                </c:pt>
                <c:pt idx="3">
                  <c:v>TINE Meieriet Sør - Kristiansand</c:v>
                </c:pt>
                <c:pt idx="4">
                  <c:v>Hennig-Olsen Is AS</c:v>
                </c:pt>
              </c:strCache>
            </c:strRef>
          </c:cat>
          <c:val>
            <c:numRef>
              <c:f>'Grafer til notat'!$J$105:$J$109</c:f>
              <c:numCache>
                <c:formatCode>General</c:formatCode>
                <c:ptCount val="5"/>
                <c:pt idx="0">
                  <c:v>34192.199999999997</c:v>
                </c:pt>
                <c:pt idx="1">
                  <c:v>23750</c:v>
                </c:pt>
                <c:pt idx="2">
                  <c:v>13389.04</c:v>
                </c:pt>
                <c:pt idx="3">
                  <c:v>234.67499999999998</c:v>
                </c:pt>
                <c:pt idx="4">
                  <c:v>105.84</c:v>
                </c:pt>
              </c:numCache>
            </c:numRef>
          </c:val>
          <c:extLst>
            <c:ext xmlns:c16="http://schemas.microsoft.com/office/drawing/2014/chart" uri="{C3380CC4-5D6E-409C-BE32-E72D297353CC}">
              <c16:uniqueId val="{00000001-4717-470C-8047-DD5234F7B502}"/>
            </c:ext>
          </c:extLst>
        </c:ser>
        <c:dLbls>
          <c:showLegendKey val="0"/>
          <c:showVal val="0"/>
          <c:showCatName val="0"/>
          <c:showSerName val="0"/>
          <c:showPercent val="0"/>
          <c:showBubbleSize val="0"/>
        </c:dLbls>
        <c:gapWidth val="150"/>
        <c:overlap val="100"/>
        <c:axId val="679571320"/>
        <c:axId val="679571976"/>
      </c:barChart>
      <c:catAx>
        <c:axId val="679571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976"/>
        <c:crosses val="autoZero"/>
        <c:auto val="1"/>
        <c:lblAlgn val="ctr"/>
        <c:lblOffset val="100"/>
        <c:noMultiLvlLbl val="0"/>
      </c:catAx>
      <c:valAx>
        <c:axId val="679571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a:t>
                </a:r>
                <a:r>
                  <a:rPr lang="nb-NO" sz="1400" baseline="0" dirty="0"/>
                  <a:t>n CO</a:t>
                </a:r>
                <a:r>
                  <a:rPr lang="nb-NO" sz="1400" baseline="-25000" dirty="0"/>
                  <a:t>2</a:t>
                </a:r>
                <a:r>
                  <a:rPr lang="nb-NO" sz="1400" baseline="0" dirty="0"/>
                  <a:t>-ekvivalenter</a:t>
                </a:r>
                <a:endParaRPr lang="nb-NO" sz="1400" dirty="0"/>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32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1"/>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1166.4638896073</c:v>
                </c:pt>
                <c:pt idx="1">
                  <c:v>1166.4638896073</c:v>
                </c:pt>
                <c:pt idx="2">
                  <c:v>1166.4638896073</c:v>
                </c:pt>
                <c:pt idx="3">
                  <c:v>1166.4638896073</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6720.5225132000005</c:v>
                </c:pt>
                <c:pt idx="2">
                  <c:v>6720.5225132000005</c:v>
                </c:pt>
                <c:pt idx="3">
                  <c:v>6720.5225132000005</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65912.549011343697</c:v>
                </c:pt>
                <c:pt idx="2">
                  <c:v>65912.549011343697</c:v>
                </c:pt>
                <c:pt idx="3">
                  <c:v>65912.549011343697</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35081.29995854236</c:v>
                </c:pt>
                <c:pt idx="2">
                  <c:v>35081.29995854236</c:v>
                </c:pt>
                <c:pt idx="3">
                  <c:v>35081.29995854236</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18991.229871066498</c:v>
                </c:pt>
                <c:pt idx="2">
                  <c:v>18991.229871066498</c:v>
                </c:pt>
                <c:pt idx="3">
                  <c:v>18991.229871066498</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39859.486842749626</c:v>
                </c:pt>
                <c:pt idx="3" formatCode="#,##0">
                  <c:v>39859.486842749626</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6049.9420783042997</c:v>
                </c:pt>
                <c:pt idx="3" formatCode="#,##0">
                  <c:v>6049.9420783042997</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9413.1197542156988</c:v>
                </c:pt>
                <c:pt idx="3" formatCode="#,##0">
                  <c:v>9413.1197542156988</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3886.9359851181998</c:v>
                </c:pt>
                <c:pt idx="3" formatCode="#,##0">
                  <c:v>3886.9359851181998</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1391.4741394964999</c:v>
                </c:pt>
                <c:pt idx="3" formatCode="#,##0">
                  <c:v>1391.4741394964999</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5832.2326197407001</c:v>
                </c:pt>
                <c:pt idx="3" formatCode="#,##0">
                  <c:v>5832.2326197407001</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232138.84144408291</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34859.395397709894</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2974.1893829881155</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57936207333378364</cx:pt>
          <cx:pt idx="1">0.34780774930860947</cx:pt>
          <cx:pt idx="2">0.072830177357606926</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414719.44564168388</cx:pt>
          <cx:pt idx="1">-84903.778882410203</cx:pt>
          <cx:pt idx="2">-35081.29995854236</cx:pt>
          <cx:pt idx="3">-6720.5225132000005</cx:pt>
          <cx:pt idx="4">-5832.2326197407001</cx:pt>
          <cx:pt idx="5">-34859.395397709894</cx:pt>
          <cx:pt idx="6">-9413.1197542156988</cx:pt>
          <cx:pt idx="7">-15469.005475514408</cx:pt>
          <cx:pt idx="8">-39859.486842749626</cx:pt>
          <cx:pt idx="9">182580.60419760097</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2</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3</a:t>
            </a:fld>
            <a:endParaRPr lang="nb-NO" dirty="0"/>
          </a:p>
        </p:txBody>
      </p:sp>
    </p:spTree>
    <p:extLst>
      <p:ext uri="{BB962C8B-B14F-4D97-AF65-F5344CB8AC3E}">
        <p14:creationId xmlns:p14="http://schemas.microsoft.com/office/powerpoint/2010/main" val="150452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orteringen av datagrunnlaget skjer under fanen Sjøfart i ERA-modellen</a:t>
            </a:r>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6784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4853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7.sv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6.xml"/><Relationship Id="rId21" Type="http://schemas.openxmlformats.org/officeDocument/2006/relationships/image" Target="../media/image35.svg"/><Relationship Id="rId7" Type="http://schemas.openxmlformats.org/officeDocument/2006/relationships/chart" Target="../charts/chart3.xml"/><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12.xml"/><Relationship Id="rId6" Type="http://schemas.openxmlformats.org/officeDocument/2006/relationships/image" Target="../media/image23.png"/><Relationship Id="rId11" Type="http://schemas.openxmlformats.org/officeDocument/2006/relationships/image" Target="../media/image25.svg"/><Relationship Id="rId24" Type="http://schemas.openxmlformats.org/officeDocument/2006/relationships/image" Target="../media/image38.png"/><Relationship Id="rId5" Type="http://schemas.microsoft.com/office/2014/relationships/chartEx" Target="../charts/chartEx1.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16.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15.xml"/><Relationship Id="rId16" Type="http://schemas.openxmlformats.org/officeDocument/2006/relationships/image" Target="../media/image53.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i</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4" name="Bilde 3">
            <a:extLst>
              <a:ext uri="{FF2B5EF4-FFF2-40B4-BE49-F238E27FC236}">
                <a16:creationId xmlns:a16="http://schemas.microsoft.com/office/drawing/2014/main" id="{6F580180-268C-EEBB-6640-8B27A1166CD2}"/>
              </a:ext>
            </a:extLst>
          </p:cNvPr>
          <p:cNvPicPr/>
          <p:nvPr/>
        </p:nvPicPr>
        <p:blipFill>
          <a:blip r:embed="rId7"/>
          <a:stretch>
            <a:fillRect/>
          </a:stretch>
        </p:blipFill>
        <p:spPr>
          <a:xfrm>
            <a:off x="9134475" y="2635250"/>
            <a:ext cx="3208338" cy="936625"/>
          </a:xfrm>
          <a:prstGeom prst="rect">
            <a:avLst/>
          </a:prstGeom>
        </p:spPr>
      </p:pic>
      <p:pic>
        <p:nvPicPr>
          <p:cNvPr id="6" name="Bilde 5">
            <a:extLst>
              <a:ext uri="{FF2B5EF4-FFF2-40B4-BE49-F238E27FC236}">
                <a16:creationId xmlns:a16="http://schemas.microsoft.com/office/drawing/2014/main" id="{1076D370-71EE-4DAA-C7D5-E28D025E9951}"/>
              </a:ext>
            </a:extLst>
          </p:cNvPr>
          <p:cNvPicPr/>
          <p:nvPr/>
        </p:nvPicPr>
        <p:blipFill>
          <a:blip r:embed="rId8"/>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E88AFD9C-5190-66A8-4D93-6FE6D537DCCC}"/>
              </a:ext>
            </a:extLst>
          </p:cNvPr>
          <p:cNvPicPr/>
          <p:nvPr/>
        </p:nvPicPr>
        <p:blipFill>
          <a:blip r:embed="rId9"/>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681302686"/>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503096513"/>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77B209F1-E1DE-8E6F-EEC6-D11346669937}"/>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D2AB8528-03D5-2CC8-7BA5-1F4512C2D7F2}"/>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61DF3B18-707E-347E-A341-1F441B83A15F}"/>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2797AC6D-D3C3-526A-6F5B-7EF448A5FC02}"/>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56ADC833-E71C-C887-81EF-3E6131DAD544}"/>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9986A047-EE39-55E0-AA42-53F084716AB0}"/>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606E8512-A38D-A390-D7CC-3393CE158626}"/>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5D592412-2BEC-C633-E5E9-A5AFEC6C64C9}"/>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3745079941"/>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1161380469"/>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9347E8D4-42DC-32A2-C8F5-13BFFBE8C40D}"/>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9948716"/>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2100306535"/>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3281339736"/>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7332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sjøfart</a:t>
            </a:r>
          </a:p>
        </p:txBody>
      </p:sp>
      <p:sp>
        <p:nvSpPr>
          <p:cNvPr id="10" name="TextBox 9">
            <a:extLst>
              <a:ext uri="{FF2B5EF4-FFF2-40B4-BE49-F238E27FC236}">
                <a16:creationId xmlns:a16="http://schemas.microsoft.com/office/drawing/2014/main" id="{AB89837B-74BD-4C0F-A4E5-1F5D44C9E3B7}"/>
              </a:ext>
            </a:extLst>
          </p:cNvPr>
          <p:cNvSpPr txBox="1"/>
          <p:nvPr/>
        </p:nvSpPr>
        <p:spPr>
          <a:xfrm>
            <a:off x="9097347" y="6562531"/>
            <a:ext cx="3094654" cy="261610"/>
          </a:xfrm>
          <a:prstGeom prst="rect">
            <a:avLst/>
          </a:prstGeom>
          <a:noFill/>
        </p:spPr>
        <p:txBody>
          <a:bodyPr wrap="square" rtlCol="0">
            <a:spAutoFit/>
          </a:bodyPr>
          <a:lstStyle/>
          <a:p>
            <a:pPr algn="l"/>
            <a:r>
              <a:rPr lang="nb-NO" sz="1100" dirty="0">
                <a:solidFill>
                  <a:schemeClr val="bg2">
                    <a:lumMod val="75000"/>
                  </a:schemeClr>
                </a:solidFill>
              </a:rPr>
              <a:t>Figur 2 i ERA-modellen. Kilde: Miljødirektoratet</a:t>
            </a:r>
            <a:endParaRPr lang="nb-NO" dirty="0">
              <a:solidFill>
                <a:schemeClr val="bg2">
                  <a:lumMod val="75000"/>
                </a:schemeClr>
              </a:solidFill>
            </a:endParaRPr>
          </a:p>
        </p:txBody>
      </p:sp>
      <p:graphicFrame>
        <p:nvGraphicFramePr>
          <p:cNvPr id="12" name="Chart 11">
            <a:extLst>
              <a:ext uri="{FF2B5EF4-FFF2-40B4-BE49-F238E27FC236}">
                <a16:creationId xmlns:a16="http://schemas.microsoft.com/office/drawing/2014/main" id="{2215981E-83F4-43A3-86A5-16785E5E33DA}"/>
              </a:ext>
            </a:extLst>
          </p:cNvPr>
          <p:cNvGraphicFramePr>
            <a:graphicFrameLocks/>
          </p:cNvGraphicFramePr>
          <p:nvPr>
            <p:extLst>
              <p:ext uri="{D42A27DB-BD31-4B8C-83A1-F6EECF244321}">
                <p14:modId xmlns:p14="http://schemas.microsoft.com/office/powerpoint/2010/main" val="1979751706"/>
              </p:ext>
            </p:extLst>
          </p:nvPr>
        </p:nvGraphicFramePr>
        <p:xfrm>
          <a:off x="1052423" y="1444095"/>
          <a:ext cx="10757139" cy="45943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053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177068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de største industriaktørene </a:t>
            </a:r>
          </a:p>
        </p:txBody>
      </p:sp>
      <p:sp>
        <p:nvSpPr>
          <p:cNvPr id="10" name="TextBox 9">
            <a:extLst>
              <a:ext uri="{FF2B5EF4-FFF2-40B4-BE49-F238E27FC236}">
                <a16:creationId xmlns:a16="http://schemas.microsoft.com/office/drawing/2014/main" id="{AB89837B-74BD-4C0F-A4E5-1F5D44C9E3B7}"/>
              </a:ext>
            </a:extLst>
          </p:cNvPr>
          <p:cNvSpPr txBox="1"/>
          <p:nvPr/>
        </p:nvSpPr>
        <p:spPr>
          <a:xfrm>
            <a:off x="10571001" y="6562531"/>
            <a:ext cx="1620999" cy="261610"/>
          </a:xfrm>
          <a:prstGeom prst="rect">
            <a:avLst/>
          </a:prstGeom>
          <a:noFill/>
        </p:spPr>
        <p:txBody>
          <a:bodyPr wrap="square" rtlCol="0">
            <a:spAutoFit/>
          </a:bodyPr>
          <a:lstStyle/>
          <a:p>
            <a:pPr algn="l"/>
            <a:r>
              <a:rPr lang="nb-NO" sz="1100" dirty="0">
                <a:solidFill>
                  <a:schemeClr val="bg2">
                    <a:lumMod val="75000"/>
                  </a:schemeClr>
                </a:solidFill>
              </a:rPr>
              <a:t>Kilde: Miljødirektoratet</a:t>
            </a:r>
            <a:endParaRPr lang="nb-NO" dirty="0">
              <a:solidFill>
                <a:schemeClr val="bg2">
                  <a:lumMod val="75000"/>
                </a:schemeClr>
              </a:solidFill>
            </a:endParaRPr>
          </a:p>
        </p:txBody>
      </p:sp>
      <p:graphicFrame>
        <p:nvGraphicFramePr>
          <p:cNvPr id="13" name="Chart 12">
            <a:extLst>
              <a:ext uri="{FF2B5EF4-FFF2-40B4-BE49-F238E27FC236}">
                <a16:creationId xmlns:a16="http://schemas.microsoft.com/office/drawing/2014/main" id="{56615FA3-2FD3-49D9-9A45-AA98DE84C9DF}"/>
              </a:ext>
            </a:extLst>
          </p:cNvPr>
          <p:cNvGraphicFramePr>
            <a:graphicFrameLocks/>
          </p:cNvGraphicFramePr>
          <p:nvPr>
            <p:extLst>
              <p:ext uri="{D42A27DB-BD31-4B8C-83A1-F6EECF244321}">
                <p14:modId xmlns:p14="http://schemas.microsoft.com/office/powerpoint/2010/main" val="310963576"/>
              </p:ext>
            </p:extLst>
          </p:nvPr>
        </p:nvGraphicFramePr>
        <p:xfrm>
          <a:off x="509954" y="1336431"/>
          <a:ext cx="11139854" cy="445189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37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31</TotalTime>
  <Words>645</Words>
  <Application>Microsoft Office PowerPoint</Application>
  <PresentationFormat>Widescreen</PresentationFormat>
  <Paragraphs>122</Paragraphs>
  <Slides>13</Slides>
  <Notes>1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3</vt:i4>
      </vt:variant>
    </vt:vector>
  </HeadingPairs>
  <TitlesOfParts>
    <vt:vector size="19" baseType="lpstr">
      <vt:lpstr>Arial</vt:lpstr>
      <vt:lpstr>Arial Black</vt:lpstr>
      <vt:lpstr>Calibri</vt:lpstr>
      <vt:lpstr>Wingdings</vt:lpstr>
      <vt:lpstr>Agder fylkeskommune PowerPointmal 16:9</vt:lpstr>
      <vt:lpstr>think-cell Slide</vt:lpstr>
      <vt:lpstr>Klimagassutslipp og energiforbruk i</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 fra sjøfart</vt:lpstr>
      <vt:lpstr>Utslipp fra de største industriaktørene </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32:47Z</dcterms:modified>
</cp:coreProperties>
</file>